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0"/>
  </p:notesMasterIdLst>
  <p:handoutMasterIdLst>
    <p:handoutMasterId r:id="rId21"/>
  </p:handoutMasterIdLst>
  <p:sldIdLst>
    <p:sldId id="257" r:id="rId6"/>
    <p:sldId id="258" r:id="rId7"/>
    <p:sldId id="259" r:id="rId8"/>
    <p:sldId id="260" r:id="rId9"/>
    <p:sldId id="261" r:id="rId10"/>
    <p:sldId id="270" r:id="rId11"/>
    <p:sldId id="262" r:id="rId12"/>
    <p:sldId id="269" r:id="rId13"/>
    <p:sldId id="263" r:id="rId14"/>
    <p:sldId id="264" r:id="rId15"/>
    <p:sldId id="265" r:id="rId16"/>
    <p:sldId id="267" r:id="rId17"/>
    <p:sldId id="268" r:id="rId18"/>
    <p:sldId id="266" r:id="rId19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E0E3"/>
    <a:srgbClr val="CEFFDF"/>
    <a:srgbClr val="0A0000"/>
    <a:srgbClr val="020000"/>
    <a:srgbClr val="010000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20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5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4.png"/><Relationship Id="rId7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5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6.png"/><Relationship Id="rId7" Type="http://schemas.openxmlformats.org/officeDocument/2006/relationships/image" Target="../media/image4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7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12.svg"/><Relationship Id="rId4" Type="http://schemas.openxmlformats.org/officeDocument/2006/relationships/image" Target="../media/image7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9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6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=""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5" name="think-cell Slide" r:id="rId5" imgW="339" imgH="343" progId="TCLayout.ActiveDocument.1">
                  <p:embed/>
                </p:oleObj>
              </mc:Choice>
              <mc:Fallback>
                <p:oleObj name="think-cell Slide" r:id="rId5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9"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 smtClean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=""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=""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kontrollprogram@admin.uio.no" TargetMode="External"/><Relationship Id="rId2" Type="http://schemas.openxmlformats.org/officeDocument/2006/relationships/hyperlink" Target="https://www.uio.no/for-ansatte/arbeidsstotte/okonomi/lokalt-kontrollprogram/" TargetMode="Externa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Kontrollprogram</a:t>
            </a:r>
            <a:endParaRPr lang="nb-NO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b-NO" dirty="0" smtClean="0"/>
              <a:t>Ny kontroll og oppdateringer</a:t>
            </a:r>
            <a:endParaRPr lang="nb-NO" dirty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v/Gruppe for avstemming, rapportering og kontroll</a:t>
            </a:r>
            <a:endParaRPr lang="nb-NO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 smtClean="0"/>
              <a:t>Seksjon for regnskap</a:t>
            </a:r>
            <a:endParaRPr lang="nb-NO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 err="1" smtClean="0"/>
              <a:t>Møte</a:t>
            </a:r>
            <a:r>
              <a:rPr lang="en-US" dirty="0" smtClean="0"/>
              <a:t> 23.05.202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60954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apport brukeroversikt SAP</a:t>
            </a:r>
            <a:endParaRPr lang="nb-NO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487" y="1082675"/>
            <a:ext cx="6433026" cy="4818063"/>
          </a:xfrm>
        </p:spPr>
      </p:pic>
      <p:sp>
        <p:nvSpPr>
          <p:cNvPr id="9" name="TextBox 8"/>
          <p:cNvSpPr txBox="1"/>
          <p:nvPr/>
        </p:nvSpPr>
        <p:spPr>
          <a:xfrm>
            <a:off x="4866215" y="3030041"/>
            <a:ext cx="2632998" cy="461665"/>
          </a:xfrm>
          <a:prstGeom prst="rect">
            <a:avLst/>
          </a:prstGeom>
          <a:noFill/>
          <a:ln w="19050">
            <a:solidFill>
              <a:schemeClr val="tx1">
                <a:alpha val="50000"/>
              </a:schemeClr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nb-NO" sz="2400" dirty="0" smtClean="0">
                <a:solidFill>
                  <a:schemeClr val="bg1">
                    <a:lumMod val="75000"/>
                  </a:schemeClr>
                </a:solidFill>
              </a:rPr>
              <a:t>P.t. ikke publisert</a:t>
            </a:r>
            <a:endParaRPr lang="nb-NO" sz="24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0042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datert rapport prosjektkontroll – overforbruk BOA</a:t>
            </a:r>
            <a:br>
              <a:rPr lang="nb-NO" dirty="0"/>
            </a:br>
            <a:endParaRPr lang="nb-NO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360044" y="1367742"/>
            <a:ext cx="9653551" cy="481806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585062" y="3152775"/>
            <a:ext cx="1500172" cy="216335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0" name="TextBox 9"/>
          <p:cNvSpPr txBox="1"/>
          <p:nvPr/>
        </p:nvSpPr>
        <p:spPr>
          <a:xfrm>
            <a:off x="1594587" y="3397911"/>
            <a:ext cx="1490647" cy="257775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1" name="TextBox 10"/>
          <p:cNvSpPr txBox="1"/>
          <p:nvPr/>
        </p:nvSpPr>
        <p:spPr>
          <a:xfrm>
            <a:off x="3472295" y="3133724"/>
            <a:ext cx="3335829" cy="23083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 smtClean="0"/>
              <a:t>Tidligere enkeltperiode. Nå periode hittil (fra prosjektets start).</a:t>
            </a:r>
            <a:endParaRPr lang="nb-NO" dirty="0"/>
          </a:p>
        </p:txBody>
      </p:sp>
      <p:sp>
        <p:nvSpPr>
          <p:cNvPr id="12" name="TextBox 11"/>
          <p:cNvSpPr txBox="1"/>
          <p:nvPr/>
        </p:nvSpPr>
        <p:spPr>
          <a:xfrm>
            <a:off x="3462770" y="3422886"/>
            <a:ext cx="3345353" cy="36933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 smtClean="0"/>
              <a:t>Beløpsgrense kan endres iht. enhetens egen vurdering av vesentlig beløp. Settes til 0,01 for å vise alle.</a:t>
            </a:r>
            <a:endParaRPr lang="nb-NO" dirty="0"/>
          </a:p>
        </p:txBody>
      </p:sp>
      <p:cxnSp>
        <p:nvCxnSpPr>
          <p:cNvPr id="14" name="Straight Arrow Connector 13"/>
          <p:cNvCxnSpPr/>
          <p:nvPr/>
        </p:nvCxnSpPr>
        <p:spPr>
          <a:xfrm flipH="1">
            <a:off x="3085234" y="3257550"/>
            <a:ext cx="377537" cy="952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H="1">
            <a:off x="3094759" y="3533775"/>
            <a:ext cx="377537" cy="952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9467850" y="5657850"/>
            <a:ext cx="545746" cy="246782"/>
          </a:xfrm>
          <a:prstGeom prst="rect">
            <a:avLst/>
          </a:prstGeom>
          <a:noFill/>
          <a:ln w="38100"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endParaRPr lang="nb-NO" dirty="0"/>
          </a:p>
        </p:txBody>
      </p:sp>
      <p:sp>
        <p:nvSpPr>
          <p:cNvPr id="17" name="TextBox 16"/>
          <p:cNvSpPr txBox="1"/>
          <p:nvPr/>
        </p:nvSpPr>
        <p:spPr>
          <a:xfrm>
            <a:off x="8558646" y="5172074"/>
            <a:ext cx="842529" cy="230832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 smtClean="0"/>
              <a:t>Beløp hittil</a:t>
            </a:r>
            <a:endParaRPr lang="nb-NO" dirty="0"/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9401175" y="5402906"/>
            <a:ext cx="66675" cy="25494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4311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datert rapport prosjektkontroll – overforbruk BOA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Overforbruk/underskudd (positivt beløp) mulige årsaker: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Endring </a:t>
            </a:r>
            <a:r>
              <a:rPr lang="nb-NO" dirty="0" err="1" smtClean="0"/>
              <a:t>kontraktsbeløp</a:t>
            </a:r>
            <a:r>
              <a:rPr lang="nb-NO" dirty="0" smtClean="0"/>
              <a:t> (reduksjon </a:t>
            </a:r>
            <a:r>
              <a:rPr lang="nb-NO" dirty="0" err="1" smtClean="0"/>
              <a:t>kontraktsbeløp</a:t>
            </a:r>
            <a:r>
              <a:rPr lang="nb-NO" dirty="0" smtClean="0"/>
              <a:t>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Kostnader&gt;</a:t>
            </a:r>
            <a:r>
              <a:rPr lang="nb-NO" dirty="0" err="1" smtClean="0"/>
              <a:t>kontraktsbeløp</a:t>
            </a:r>
            <a:r>
              <a:rPr lang="nb-NO" dirty="0" smtClean="0"/>
              <a:t> p.t. (</a:t>
            </a:r>
            <a:r>
              <a:rPr lang="nb-NO" dirty="0" err="1" smtClean="0"/>
              <a:t>kontraktsbeløp</a:t>
            </a:r>
            <a:r>
              <a:rPr lang="nb-NO" dirty="0" smtClean="0"/>
              <a:t> kan være endret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Inntekt på konto utenfor intervall for automatisk periodisering (kontogruppe 36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Saldo fra avregning BOA 2021 (</a:t>
            </a:r>
            <a:r>
              <a:rPr lang="nb-NO" dirty="0" smtClean="0"/>
              <a:t>periodelukking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Manglende </a:t>
            </a:r>
            <a:r>
              <a:rPr lang="nb-NO" dirty="0" err="1" smtClean="0"/>
              <a:t>kontraktsbeløp</a:t>
            </a:r>
            <a:r>
              <a:rPr lang="nb-NO" dirty="0" smtClean="0"/>
              <a:t> (0,01)</a:t>
            </a:r>
            <a:endParaRPr lang="nb-NO" dirty="0"/>
          </a:p>
          <a:p>
            <a:pPr marL="903296" lvl="1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Underforbruk/overskudd (negativt beløp) mulige årsaker: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Endring </a:t>
            </a:r>
            <a:r>
              <a:rPr lang="nb-NO" dirty="0" err="1" smtClean="0"/>
              <a:t>kontraktsbeløp</a:t>
            </a:r>
            <a:r>
              <a:rPr lang="nb-NO" dirty="0" smtClean="0"/>
              <a:t> (økning </a:t>
            </a:r>
            <a:r>
              <a:rPr lang="nb-NO" dirty="0" err="1" smtClean="0"/>
              <a:t>kontraktsbeløp</a:t>
            </a:r>
            <a:r>
              <a:rPr lang="nb-NO" dirty="0" smtClean="0"/>
              <a:t>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Inntekt på konto utenfor intervall for automatisk periodisering (kontogruppe 36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Saldo fra avregning BOA 2021 (periodelukking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Manglende </a:t>
            </a:r>
            <a:r>
              <a:rPr lang="nb-NO" dirty="0" err="1" smtClean="0"/>
              <a:t>kontraktsbeløp</a:t>
            </a:r>
            <a:r>
              <a:rPr lang="nb-NO" dirty="0" smtClean="0"/>
              <a:t> (0,01)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390349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ppfølging kontroll av aktivitet på BOA-prosjekter</a:t>
            </a:r>
            <a:br>
              <a:rPr lang="nb-NO" dirty="0"/>
            </a:b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Gjelder kostnadsallokeringskontroll på BOA-prosjek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Fokusområde fra Riksrevisjonen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Kontrollerer etterlevelse og tilta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Leverte kontroller beskriver avvik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Ved behov for endring ser vi også samme kommentar på neste kontrollperiode (f.eks. manglende oppdatert prosjektbudsjett)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Tiltak må tidfest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Kontrollen vil få tettere oppfølging sentralt</a:t>
            </a:r>
          </a:p>
        </p:txBody>
      </p:sp>
    </p:spTree>
    <p:extLst>
      <p:ext uri="{BB962C8B-B14F-4D97-AF65-F5344CB8AC3E}">
        <p14:creationId xmlns:p14="http://schemas.microsoft.com/office/powerpoint/2010/main" val="39997292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Lokalt kontrollprogram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Oppgave ny kontroll </a:t>
            </a:r>
            <a:r>
              <a:rPr lang="nb-NO" dirty="0" smtClean="0"/>
              <a:t>(kontogruppe 67) </a:t>
            </a:r>
            <a:r>
              <a:rPr lang="nb-NO" dirty="0"/>
              <a:t>distribueres ved kontrollperiode </a:t>
            </a:r>
            <a:r>
              <a:rPr lang="nb-NO" dirty="0" smtClean="0"/>
              <a:t>202305</a:t>
            </a:r>
            <a:endParaRPr lang="nb-NO" dirty="0"/>
          </a:p>
          <a:p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Presentasjon blir publisert for </a:t>
            </a:r>
            <a:r>
              <a:rPr lang="nb-NO" dirty="0" err="1"/>
              <a:t>nedlasting</a:t>
            </a:r>
            <a:r>
              <a:rPr lang="nb-NO" dirty="0"/>
              <a:t>:</a:t>
            </a:r>
          </a:p>
          <a:p>
            <a:pPr lvl="1"/>
            <a:r>
              <a:rPr lang="nb-NO" dirty="0">
                <a:hlinkClick r:id="rId2"/>
              </a:rPr>
              <a:t>https://www.uio.no/for-ansatte/arbeidsstotte/okonomi/lokalt-kontrollprogram/</a:t>
            </a:r>
            <a:endParaRPr lang="nb-NO" dirty="0"/>
          </a:p>
          <a:p>
            <a:pPr marL="239727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239727" indent="-342900">
              <a:buFont typeface="Arial" panose="020B0604020202020204" pitchFamily="34" charset="0"/>
              <a:buChar char="•"/>
            </a:pPr>
            <a:r>
              <a:rPr lang="nb-NO" dirty="0"/>
              <a:t>Spørsmål og henvendelser lokalt kontrollprogram:</a:t>
            </a:r>
          </a:p>
          <a:p>
            <a:pPr marL="2846510" lvl="6" indent="0">
              <a:buNone/>
            </a:pPr>
            <a:endParaRPr lang="nb-NO" dirty="0"/>
          </a:p>
          <a:p>
            <a:pPr marL="2846510" lvl="6" indent="0">
              <a:buNone/>
            </a:pPr>
            <a:r>
              <a:rPr lang="nb-NO" dirty="0"/>
              <a:t>E-post: </a:t>
            </a:r>
            <a:r>
              <a:rPr lang="nb-NO" dirty="0">
                <a:hlinkClick r:id="rId3"/>
              </a:rPr>
              <a:t>kontrollprogram@admin.uio.no</a:t>
            </a: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586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genda</a:t>
            </a:r>
            <a:endParaRPr lang="nb-NO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Presentasjon av ny kontroll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Konteringskontroll kontogruppe 67 Kjøp av konsulenttjenester og andre fremmede tjenester</a:t>
            </a: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Status fra sentral kontro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Oppdatert kontroll brukertilgang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Brukertilgang SAP inkluderes</a:t>
            </a: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Oppdatert rapport prosjektkontroll – overforbruk BO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Oppfølging kontroll av aktivitet på BOA-prosjekt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401996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okalt kontrollprogram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nb-NO" dirty="0"/>
              <a:t>Følgende områder omfattes av lokalt kontrollprogram:</a:t>
            </a:r>
          </a:p>
          <a:p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80938" y="1471549"/>
            <a:ext cx="10566400" cy="4608512"/>
          </a:xfrm>
        </p:spPr>
        <p:txBody>
          <a:bodyPr/>
          <a:lstStyle/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endParaRPr lang="nb-NO" sz="2000" dirty="0"/>
          </a:p>
          <a:p>
            <a:pPr marL="0" indent="0">
              <a:buNone/>
            </a:pPr>
            <a:r>
              <a:rPr lang="nb-NO" sz="2000" dirty="0"/>
              <a:t>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fld id="{698641C6-D45E-4B3A-A08E-AC8766AC1DAC}" type="slidenum">
              <a:rPr lang="en-US" altLang="nb-NO" smtClean="0">
                <a:solidFill>
                  <a:srgbClr val="808080"/>
                </a:solidFill>
              </a:rPr>
              <a:pPr/>
              <a:t>3</a:t>
            </a:fld>
            <a:endParaRPr lang="en-US" altLang="nb-NO">
              <a:solidFill>
                <a:srgbClr val="808080"/>
              </a:solidFill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760575" y="2136449"/>
            <a:ext cx="4050705" cy="1375872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Inntekt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R</a:t>
            </a:r>
            <a:r>
              <a:rPr kumimoji="0" lang="nb-NO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isiko for feil klassifisering, ufullstendighet og periodisering </a:t>
            </a:r>
          </a:p>
        </p:txBody>
      </p:sp>
      <p:sp>
        <p:nvSpPr>
          <p:cNvPr id="7" name="Oval 6"/>
          <p:cNvSpPr/>
          <p:nvPr/>
        </p:nvSpPr>
        <p:spPr bwMode="auto">
          <a:xfrm>
            <a:off x="4033615" y="2324457"/>
            <a:ext cx="3461047" cy="1880074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Kostnad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Risiko for feil klassifisering, periodisering og gyldighet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8" name="Oval 7"/>
          <p:cNvSpPr/>
          <p:nvPr/>
        </p:nvSpPr>
        <p:spPr bwMode="auto">
          <a:xfrm flipH="1">
            <a:off x="1015996" y="3324313"/>
            <a:ext cx="3991837" cy="2546647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2000" dirty="0">
                <a:latin typeface="+mj-lt"/>
              </a:rPr>
              <a:t>Bidrags- og oppdragsaktivitet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nb-NO" sz="14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Risiko for feil prosjektklassifisering, manglende kostnadsregistrering, manglende</a:t>
            </a:r>
            <a:r>
              <a:rPr kumimoji="0" lang="nb-NO" sz="14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oppfølging av overforbruk/underskudd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9" name="Oval 8"/>
          <p:cNvSpPr/>
          <p:nvPr/>
        </p:nvSpPr>
        <p:spPr bwMode="auto">
          <a:xfrm>
            <a:off x="5263254" y="4315626"/>
            <a:ext cx="4359310" cy="1860134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Etterlevelse</a:t>
            </a:r>
            <a:r>
              <a:rPr kumimoji="0" lang="nb-NO" sz="20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 av lover og regl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baseline="0" dirty="0">
                <a:latin typeface="Arial" charset="0"/>
                <a:ea typeface="ヒラギノ角ゴ Pro W3" charset="-128"/>
                <a:cs typeface="ヒラギノ角ゴ Pro W3" charset="-128"/>
              </a:rPr>
              <a:t>Risiko</a:t>
            </a: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 for brudd av regler i SPH, BOA-reglementet, dokumentasjonskrav fra EU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  <p:sp>
        <p:nvSpPr>
          <p:cNvPr id="10" name="Oval 9"/>
          <p:cNvSpPr/>
          <p:nvPr/>
        </p:nvSpPr>
        <p:spPr bwMode="auto">
          <a:xfrm>
            <a:off x="7665579" y="2555193"/>
            <a:ext cx="3482906" cy="1649338"/>
          </a:xfrm>
          <a:prstGeom prst="ellipse">
            <a:avLst/>
          </a:prstGeom>
          <a:solidFill>
            <a:srgbClr val="BBE0E3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charset="-128"/>
                <a:cs typeface="ヒラギノ角ゴ Pro W3" charset="-128"/>
              </a:rPr>
              <a:t>Generelle kontroller</a:t>
            </a:r>
          </a:p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nb-NO" sz="1400" dirty="0">
                <a:latin typeface="Arial" charset="0"/>
                <a:ea typeface="ヒラギノ角ゴ Pro W3" charset="-128"/>
                <a:cs typeface="ヒラギノ角ゴ Pro W3" charset="-128"/>
              </a:rPr>
              <a:t>Risiko for tilgang til økonomisystem uten tjenstlig behov og myndighet</a:t>
            </a:r>
            <a:endParaRPr kumimoji="0" lang="nb-NO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charset="-128"/>
              <a:cs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369795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y kontroll kontogruppe 67 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67 Kjøp </a:t>
            </a:r>
            <a:r>
              <a:rPr lang="nb-NO" dirty="0"/>
              <a:t>av konsulenttjenester og andre fremmede </a:t>
            </a:r>
            <a:r>
              <a:rPr lang="nb-NO" dirty="0" smtClean="0"/>
              <a:t>tjenes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ontogruppe 67 gjenstand for ekstra oppmerksomhet fra </a:t>
            </a:r>
            <a:r>
              <a:rPr lang="nb-NO" dirty="0" smtClean="0"/>
              <a:t>sta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unnskapsdepartementet iht. effektivisering av konsulentbruk oppgitt i tildelingsbrev for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58472" y="3256233"/>
            <a:ext cx="10193173" cy="19910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4405746" y="4251734"/>
            <a:ext cx="2873828" cy="355892"/>
          </a:xfrm>
          <a:prstGeom prst="rect">
            <a:avLst/>
          </a:prstGeom>
          <a:solidFill>
            <a:srgbClr val="FFFF00">
              <a:alpha val="20000"/>
            </a:srgbClr>
          </a:solidFill>
        </p:spPr>
        <p:txBody>
          <a:bodyPr wrap="square" rtlCol="0">
            <a:spAutoFit/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42580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y kontroll kontogruppe 67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670-673 skal kun inneholde konsulenttjenester etter denne definisjon: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«En konsulent er en ekstern (fysisk eller juridisk) person med </a:t>
            </a:r>
            <a:r>
              <a:rPr lang="nb-NO" b="1" dirty="0"/>
              <a:t>spesialkompetanse</a:t>
            </a:r>
            <a:r>
              <a:rPr lang="nb-NO" dirty="0"/>
              <a:t> som for en </a:t>
            </a:r>
            <a:r>
              <a:rPr lang="nb-NO" b="1" dirty="0"/>
              <a:t>tidsavgrenset periode </a:t>
            </a:r>
            <a:r>
              <a:rPr lang="nb-NO" dirty="0"/>
              <a:t>engasjeres av virksomheten for å utføre en </a:t>
            </a:r>
            <a:r>
              <a:rPr lang="nb-NO" b="1" dirty="0"/>
              <a:t>konkret definert oppgave</a:t>
            </a:r>
            <a:r>
              <a:rPr lang="nb-NO" dirty="0" smtClean="0"/>
              <a:t>»</a:t>
            </a:r>
            <a:endParaRPr lang="nb-NO" dirty="0"/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Gjelder kjøp </a:t>
            </a:r>
            <a:r>
              <a:rPr lang="nb-NO" dirty="0"/>
              <a:t>av konsulenttjenester hvor det leveres </a:t>
            </a:r>
            <a:r>
              <a:rPr lang="nb-NO" b="1" dirty="0"/>
              <a:t>spesialkompetanse som ikke UiO selv innehar</a:t>
            </a:r>
            <a:r>
              <a:rPr lang="nb-NO" dirty="0"/>
              <a:t> innenfor teknisk-administrative tjeneste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674 Innleie av vikar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Innleie av </a:t>
            </a:r>
            <a:r>
              <a:rPr lang="nb-NO" b="1" dirty="0" smtClean="0"/>
              <a:t>vikarer</a:t>
            </a:r>
            <a:r>
              <a:rPr lang="nb-NO" dirty="0" smtClean="0"/>
              <a:t> for å utføre arbeidsoppgaver som normalt utføres av egne ansatte. Gjelder også </a:t>
            </a:r>
            <a:r>
              <a:rPr lang="nb-NO" b="1" dirty="0" smtClean="0"/>
              <a:t>midlertidig tilleggskapasitet </a:t>
            </a:r>
            <a:r>
              <a:rPr lang="nb-NO" dirty="0" smtClean="0"/>
              <a:t>som ikke krever spesialkompetanse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675-679 Driftstjenester IKT/lønn og regnskap/andre </a:t>
            </a:r>
            <a:r>
              <a:rPr lang="nb-NO" dirty="0"/>
              <a:t>fremmede tjenest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Kjøp av tjenester </a:t>
            </a:r>
            <a:r>
              <a:rPr lang="nb-NO" dirty="0" smtClean="0"/>
              <a:t>til </a:t>
            </a:r>
            <a:r>
              <a:rPr lang="nb-NO" b="1" dirty="0" smtClean="0"/>
              <a:t>løpende/ordinær drift </a:t>
            </a:r>
            <a:r>
              <a:rPr lang="nb-NO" dirty="0" smtClean="0"/>
              <a:t>som </a:t>
            </a:r>
            <a:r>
              <a:rPr lang="nb-NO" dirty="0"/>
              <a:t>faller </a:t>
            </a:r>
            <a:r>
              <a:rPr lang="nb-NO" b="1" dirty="0"/>
              <a:t>utenfor definisjonen for konsulenttjenester</a:t>
            </a:r>
            <a:r>
              <a:rPr lang="nb-NO" dirty="0" smtClean="0"/>
              <a:t>. F.eks. lisenskostnader </a:t>
            </a:r>
            <a:r>
              <a:rPr lang="nb-NO" dirty="0"/>
              <a:t>for lønns- og regnskapskunder av DFØ føres på denne kontoen.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41078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Ny kontroll kontogruppe 67</a:t>
            </a:r>
            <a:endParaRPr lang="nb-NO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8849" y="1082675"/>
            <a:ext cx="7334302" cy="4818063"/>
          </a:xfrm>
        </p:spPr>
      </p:pic>
      <p:sp>
        <p:nvSpPr>
          <p:cNvPr id="9" name="TextBox 8"/>
          <p:cNvSpPr txBox="1"/>
          <p:nvPr/>
        </p:nvSpPr>
        <p:spPr>
          <a:xfrm>
            <a:off x="7836310" y="3271110"/>
            <a:ext cx="3430057" cy="156966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r>
              <a:rPr lang="nb-NO" sz="2400" dirty="0" smtClean="0">
                <a:solidFill>
                  <a:schemeClr val="bg1">
                    <a:lumMod val="75000"/>
                  </a:schemeClr>
                </a:solidFill>
              </a:rPr>
              <a:t>Publiseres </a:t>
            </a:r>
            <a:r>
              <a:rPr lang="nb-NO" sz="2400" dirty="0" err="1" smtClean="0">
                <a:solidFill>
                  <a:schemeClr val="bg1">
                    <a:lumMod val="75000"/>
                  </a:schemeClr>
                </a:solidFill>
              </a:rPr>
              <a:t>ifm</a:t>
            </a:r>
            <a:r>
              <a:rPr lang="nb-NO" sz="2400" dirty="0" smtClean="0">
                <a:solidFill>
                  <a:schemeClr val="bg1">
                    <a:lumMod val="75000"/>
                  </a:schemeClr>
                </a:solidFill>
              </a:rPr>
              <a:t>. distribusjon av oppgaver i TM for kontrollperiode 202305</a:t>
            </a:r>
            <a:endParaRPr lang="nb-NO" sz="2400" dirty="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322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atus sentral kontroll	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Konteringskontroll kontogruppe 67 tom. periode 202304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 smtClean="0"/>
              <a:t>Eksempler på avvik: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b="1" dirty="0" smtClean="0"/>
              <a:t>Kjøp</a:t>
            </a:r>
            <a:r>
              <a:rPr lang="nb-NO" dirty="0" smtClean="0"/>
              <a:t> av utstyr/materiell/inventar (kontogruppe 65)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b="1" dirty="0" smtClean="0"/>
              <a:t>Leie</a:t>
            </a:r>
            <a:r>
              <a:rPr lang="nb-NO" dirty="0" smtClean="0"/>
              <a:t> av utstyr (kontogruppe 64)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b="1" dirty="0" smtClean="0"/>
              <a:t>Reparasjon og vedlikehold </a:t>
            </a:r>
            <a:r>
              <a:rPr lang="nb-NO" dirty="0" smtClean="0"/>
              <a:t>(kontogruppe 66)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Standard </a:t>
            </a:r>
            <a:r>
              <a:rPr lang="nb-NO" b="1" dirty="0" smtClean="0"/>
              <a:t>kurs</a:t>
            </a:r>
            <a:r>
              <a:rPr lang="nb-NO" dirty="0" smtClean="0"/>
              <a:t> (f.eks. førstehjelpskurs) (kontogruppe 68 hvis kompetansegivende)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Persontransport og leie av buss ≠ 6794 Kjøp av transporttjenester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r>
              <a:rPr lang="nb-NO" dirty="0" smtClean="0"/>
              <a:t>Stillingsannonser (kontogruppe 68)</a:t>
            </a:r>
          </a:p>
          <a:p>
            <a:pPr marL="1360519" lvl="2" indent="-342900">
              <a:buFont typeface="Arial" panose="020B0604020202020204" pitchFamily="34" charset="0"/>
              <a:buChar char="•"/>
            </a:pPr>
            <a:endParaRPr lang="nb-NO" dirty="0" smtClean="0"/>
          </a:p>
          <a:p>
            <a:endParaRPr lang="nb-NO" dirty="0" smtClean="0"/>
          </a:p>
        </p:txBody>
      </p:sp>
    </p:spTree>
    <p:extLst>
      <p:ext uri="{BB962C8B-B14F-4D97-AF65-F5344CB8AC3E}">
        <p14:creationId xmlns:p14="http://schemas.microsoft.com/office/powerpoint/2010/main" val="10303252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Rapport konteringskontroll</a:t>
            </a:r>
            <a:endParaRPr lang="nb-NO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sz="quarter" idx="28"/>
          </p:nvPr>
        </p:nvPicPr>
        <p:blipFill>
          <a:blip r:embed="rId2"/>
          <a:stretch>
            <a:fillRect/>
          </a:stretch>
        </p:blipFill>
        <p:spPr>
          <a:xfrm>
            <a:off x="842230" y="1857941"/>
            <a:ext cx="10507541" cy="3267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410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smtClean="0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Oppdatert kontroll brukertilgang</a:t>
            </a:r>
            <a:endParaRPr lang="nb-NO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Kontrollen er utvidet med brukertilgang SA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Ny rapport i </a:t>
            </a:r>
            <a:r>
              <a:rPr lang="nb-NO" dirty="0" err="1" smtClean="0"/>
              <a:t>Tableau</a:t>
            </a:r>
            <a:endParaRPr lang="nb-NO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Benyttes på samme måte som Brukeroversikt Unit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 smtClean="0"/>
              <a:t>Gjennomføres ved neste kontrollperiode for brukertilgang 202307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325655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45a9c032-1c21-4297-bc4a-1b0e359a6c15"/>
    <ds:schemaRef ds:uri="http://purl.org/dc/elements/1.1/"/>
    <ds:schemaRef ds:uri="e5e35b8c-bb2a-40e7-acd7-beed1d1f14b8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294</TotalTime>
  <Words>632</Words>
  <Application>Microsoft Office PowerPoint</Application>
  <PresentationFormat>Widescreen</PresentationFormat>
  <Paragraphs>106</Paragraphs>
  <Slides>1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Arial, sans-serif</vt:lpstr>
      <vt:lpstr>Calibri</vt:lpstr>
      <vt:lpstr>Wingdings</vt:lpstr>
      <vt:lpstr>ヒラギノ角ゴ Pro W3</vt:lpstr>
      <vt:lpstr>Office Theme</vt:lpstr>
      <vt:lpstr>think-cell Slide</vt:lpstr>
      <vt:lpstr>Kontrollprogram</vt:lpstr>
      <vt:lpstr>Agenda</vt:lpstr>
      <vt:lpstr>Lokalt kontrollprogram</vt:lpstr>
      <vt:lpstr>Ny kontroll kontogruppe 67 </vt:lpstr>
      <vt:lpstr>Ny kontroll kontogruppe 67</vt:lpstr>
      <vt:lpstr>Ny kontroll kontogruppe 67</vt:lpstr>
      <vt:lpstr>Status sentral kontroll </vt:lpstr>
      <vt:lpstr>Rapport konteringskontroll</vt:lpstr>
      <vt:lpstr>Oppdatert kontroll brukertilgang</vt:lpstr>
      <vt:lpstr>Rapport brukeroversikt SAP</vt:lpstr>
      <vt:lpstr>Oppdatert rapport prosjektkontroll – overforbruk BOA </vt:lpstr>
      <vt:lpstr>Oppdatert rapport prosjektkontroll – overforbruk BOA</vt:lpstr>
      <vt:lpstr>Oppfølging kontroll av aktivitet på BOA-prosjekter </vt:lpstr>
      <vt:lpstr>Lokalt kontrollprogram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rten Erlend Skare</dc:creator>
  <cp:lastModifiedBy>Morten Erlend Skare</cp:lastModifiedBy>
  <cp:revision>45</cp:revision>
  <dcterms:created xsi:type="dcterms:W3CDTF">2023-04-14T08:45:00Z</dcterms:created>
  <dcterms:modified xsi:type="dcterms:W3CDTF">2023-05-22T13:0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